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</p:sldMasterIdLst>
  <p:notesMasterIdLst>
    <p:notesMasterId r:id="rId16"/>
  </p:notesMasterIdLst>
  <p:handoutMasterIdLst>
    <p:handoutMasterId r:id="rId17"/>
  </p:handoutMasterIdLst>
  <p:sldIdLst>
    <p:sldId id="479" r:id="rId5"/>
    <p:sldId id="490" r:id="rId6"/>
    <p:sldId id="491" r:id="rId7"/>
    <p:sldId id="492" r:id="rId8"/>
    <p:sldId id="473" r:id="rId9"/>
    <p:sldId id="474" r:id="rId10"/>
    <p:sldId id="476" r:id="rId11"/>
    <p:sldId id="475" r:id="rId12"/>
    <p:sldId id="480" r:id="rId13"/>
    <p:sldId id="481" r:id="rId14"/>
    <p:sldId id="519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6980" autoAdjust="0"/>
    <p:restoredTop sz="84959" autoAdjust="0"/>
  </p:normalViewPr>
  <p:slideViewPr>
    <p:cSldViewPr snapToGrid="0">
      <p:cViewPr varScale="1">
        <p:scale>
          <a:sx n="86" d="100"/>
          <a:sy n="86" d="100"/>
        </p:scale>
        <p:origin x="47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3154" y="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1F95FC3-8DEC-4A6C-8239-28EE4AD965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5E993E-6187-259B-3558-4F15F25E9E9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19FBB-DCA4-47FA-A2B6-9A1A5448E37F}" type="datetimeFigureOut">
              <a:rPr lang="en-IN" smtClean="0"/>
              <a:t>25-09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2FBD00-5905-83C0-9824-5C6A6ACC858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2E0F79-798C-15D9-CAA1-F2F85BEC73C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11EB98-F81C-4728-99F2-E99E4A1D4BD0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66337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E8CD52-BBA6-4B50-B4D9-B42F96254A15}" type="datetimeFigureOut">
              <a:rPr lang="en-US" smtClean="0"/>
              <a:t>9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054AD6-780F-428F-959F-1611D09BA4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921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BF325-786B-264A-A206-5FD721319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247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BF325-786B-264A-A206-5FD721319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39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BF325-786B-264A-A206-5FD721319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9725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BF325-786B-264A-A206-5FD721319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449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BF325-786B-264A-A206-5FD721319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8783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BF325-786B-264A-A206-5FD721319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2372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BF325-786B-264A-A206-5FD721319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052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BEACC21-55B0-1C68-9357-FCC6CFE04A80}"/>
              </a:ext>
            </a:extLst>
          </p:cNvPr>
          <p:cNvSpPr/>
          <p:nvPr userDrawn="1"/>
        </p:nvSpPr>
        <p:spPr>
          <a:xfrm>
            <a:off x="0" y="1113181"/>
            <a:ext cx="8124497" cy="5774635"/>
          </a:xfrm>
          <a:prstGeom prst="rect">
            <a:avLst/>
          </a:prstGeom>
          <a:solidFill>
            <a:srgbClr val="005B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093BFBC4-AD15-631B-6FE5-D1ABA96BA2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56" y="275319"/>
            <a:ext cx="2434929" cy="5842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B323291-48B0-3D9B-6FEB-AF9D07985FFE}"/>
              </a:ext>
            </a:extLst>
          </p:cNvPr>
          <p:cNvSpPr/>
          <p:nvPr userDrawn="1"/>
        </p:nvSpPr>
        <p:spPr>
          <a:xfrm>
            <a:off x="7598980" y="439230"/>
            <a:ext cx="2856267" cy="5430411"/>
          </a:xfrm>
          <a:prstGeom prst="rect">
            <a:avLst/>
          </a:prstGeom>
          <a:solidFill>
            <a:srgbClr val="45B2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L-shape 21">
            <a:extLst>
              <a:ext uri="{FF2B5EF4-FFF2-40B4-BE49-F238E27FC236}">
                <a16:creationId xmlns:a16="http://schemas.microsoft.com/office/drawing/2014/main" id="{59D4883D-ABEC-1271-1AAE-92916EF88D6B}"/>
              </a:ext>
            </a:extLst>
          </p:cNvPr>
          <p:cNvSpPr/>
          <p:nvPr userDrawn="1"/>
        </p:nvSpPr>
        <p:spPr>
          <a:xfrm rot="10800000">
            <a:off x="11063448" y="625721"/>
            <a:ext cx="318107" cy="318107"/>
          </a:xfrm>
          <a:prstGeom prst="corner">
            <a:avLst>
              <a:gd name="adj1" fmla="val 9268"/>
              <a:gd name="adj2" fmla="val 9268"/>
            </a:avLst>
          </a:prstGeom>
          <a:solidFill>
            <a:srgbClr val="18C76F"/>
          </a:solidFill>
          <a:ln>
            <a:solidFill>
              <a:srgbClr val="18C7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4E5EA2D9-AE6B-21BF-2D25-55422978C6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272"/>
          <a:stretch/>
        </p:blipFill>
        <p:spPr>
          <a:xfrm>
            <a:off x="7184800" y="831085"/>
            <a:ext cx="2294939" cy="52595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71CFD5-FA4A-1ADE-31BB-2FD4B9AF6F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8345" y="767409"/>
            <a:ext cx="3304156" cy="4908934"/>
          </a:xfrm>
          <a:prstGeom prst="rect">
            <a:avLst/>
          </a:prstGeom>
        </p:spPr>
      </p:pic>
      <p:sp>
        <p:nvSpPr>
          <p:cNvPr id="11" name="Title 8">
            <a:extLst>
              <a:ext uri="{FF2B5EF4-FFF2-40B4-BE49-F238E27FC236}">
                <a16:creationId xmlns:a16="http://schemas.microsoft.com/office/drawing/2014/main" id="{87698155-9661-58A0-D27D-A26BB09E73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127" y="1879934"/>
            <a:ext cx="6354244" cy="9867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="1" i="0">
                <a:solidFill>
                  <a:srgbClr val="18C76F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r>
              <a:rPr lang="en-GB"/>
              <a:t>Insert Title</a:t>
            </a: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FE3097-9277-216C-B85F-DC9950332DF0}"/>
              </a:ext>
            </a:extLst>
          </p:cNvPr>
          <p:cNvCxnSpPr>
            <a:cxnSpLocks/>
          </p:cNvCxnSpPr>
          <p:nvPr userDrawn="1"/>
        </p:nvCxnSpPr>
        <p:spPr>
          <a:xfrm>
            <a:off x="517622" y="3026944"/>
            <a:ext cx="665480" cy="0"/>
          </a:xfrm>
          <a:prstGeom prst="line">
            <a:avLst/>
          </a:prstGeom>
          <a:ln w="28575">
            <a:solidFill>
              <a:srgbClr val="45B2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D8CB494-1EAC-8743-2AFF-0C7CBF2397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78" y="3209506"/>
            <a:ext cx="3662412" cy="8361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Insert Subtitl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F93CAF6A-72BE-AA49-FEDC-D27D00FED3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977" y="4622997"/>
            <a:ext cx="3662412" cy="14452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Insert Description</a:t>
            </a:r>
          </a:p>
        </p:txBody>
      </p:sp>
    </p:spTree>
    <p:extLst>
      <p:ext uri="{BB962C8B-B14F-4D97-AF65-F5344CB8AC3E}">
        <p14:creationId xmlns:p14="http://schemas.microsoft.com/office/powerpoint/2010/main" val="1393716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0E1FD-51F5-4835-A865-2C14653B91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72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0E1FD-51F5-4835-A865-2C14653B9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4AAB9CD-2B5E-F442-A6B9-ACA6F9A480CD}"/>
              </a:ext>
            </a:extLst>
          </p:cNvPr>
          <p:cNvSpPr/>
          <p:nvPr userDrawn="1"/>
        </p:nvSpPr>
        <p:spPr>
          <a:xfrm>
            <a:off x="0" y="0"/>
            <a:ext cx="4223657" cy="6858000"/>
          </a:xfrm>
          <a:prstGeom prst="rect">
            <a:avLst/>
          </a:prstGeom>
          <a:solidFill>
            <a:srgbClr val="198C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573A03F7-BACE-E647-B449-0F917B83A3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8175" y="232107"/>
            <a:ext cx="2513454" cy="61458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99E74B-4F3A-0045-8944-699CE0944E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456" y="6226746"/>
            <a:ext cx="2434929" cy="58305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B219381-E11D-2B43-82C9-AC90D9899F2A}"/>
              </a:ext>
            </a:extLst>
          </p:cNvPr>
          <p:cNvSpPr txBox="1"/>
          <p:nvPr userDrawn="1"/>
        </p:nvSpPr>
        <p:spPr>
          <a:xfrm>
            <a:off x="360000" y="479724"/>
            <a:ext cx="2259546" cy="579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2800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03D971E-870D-C88C-4280-463ECB943C8C}"/>
              </a:ext>
            </a:extLst>
          </p:cNvPr>
          <p:cNvSpPr/>
          <p:nvPr userDrawn="1"/>
        </p:nvSpPr>
        <p:spPr>
          <a:xfrm>
            <a:off x="9099612" y="6377908"/>
            <a:ext cx="2281561" cy="431897"/>
          </a:xfrm>
          <a:prstGeom prst="round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@Mandar Jog</a:t>
            </a:r>
          </a:p>
        </p:txBody>
      </p:sp>
    </p:spTree>
    <p:extLst>
      <p:ext uri="{BB962C8B-B14F-4D97-AF65-F5344CB8AC3E}">
        <p14:creationId xmlns:p14="http://schemas.microsoft.com/office/powerpoint/2010/main" val="1166833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0D096D3-03A3-8D78-AC39-6B02981256F3}"/>
              </a:ext>
            </a:extLst>
          </p:cNvPr>
          <p:cNvSpPr/>
          <p:nvPr userDrawn="1"/>
        </p:nvSpPr>
        <p:spPr>
          <a:xfrm>
            <a:off x="9099612" y="6377908"/>
            <a:ext cx="2281561" cy="431897"/>
          </a:xfrm>
          <a:prstGeom prst="round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@Mandar Jog</a:t>
            </a:r>
          </a:p>
        </p:txBody>
      </p:sp>
    </p:spTree>
    <p:extLst>
      <p:ext uri="{BB962C8B-B14F-4D97-AF65-F5344CB8AC3E}">
        <p14:creationId xmlns:p14="http://schemas.microsoft.com/office/powerpoint/2010/main" val="17005390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D8480E-7DB6-6874-268E-0BE7BD7C35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0B283BA-700A-EE3E-F25A-AEF264035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89" cy="864000"/>
          </a:xfrm>
          <a:prstGeom prst="rect">
            <a:avLst/>
          </a:prstGeom>
        </p:spPr>
        <p:txBody>
          <a:bodyPr vert="horz" lIns="0" tIns="36000" rIns="0" bIns="36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i="0" kern="1200" dirty="0">
                <a:solidFill>
                  <a:srgbClr val="115C36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43CA2F4-D8A6-43EB-B228-3699F1FF106C}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66242" cy="0"/>
          </a:xfrm>
          <a:prstGeom prst="line">
            <a:avLst/>
          </a:prstGeom>
          <a:ln w="19050">
            <a:solidFill>
              <a:srgbClr val="198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CB3B841-78E5-CC68-B3A2-F76DC196450F}"/>
              </a:ext>
            </a:extLst>
          </p:cNvPr>
          <p:cNvSpPr/>
          <p:nvPr userDrawn="1"/>
        </p:nvSpPr>
        <p:spPr>
          <a:xfrm>
            <a:off x="9099612" y="6377908"/>
            <a:ext cx="2281561" cy="431897"/>
          </a:xfrm>
          <a:prstGeom prst="round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@Mandar Jog</a:t>
            </a:r>
          </a:p>
        </p:txBody>
      </p:sp>
    </p:spTree>
    <p:extLst>
      <p:ext uri="{BB962C8B-B14F-4D97-AF65-F5344CB8AC3E}">
        <p14:creationId xmlns:p14="http://schemas.microsoft.com/office/powerpoint/2010/main" val="2091838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2DBFDFF-8B57-5BD9-F1D3-C33409616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89" cy="864000"/>
          </a:xfrm>
          <a:prstGeom prst="rect">
            <a:avLst/>
          </a:prstGeom>
        </p:spPr>
        <p:txBody>
          <a:bodyPr vert="horz" lIns="0" tIns="36000" rIns="0" bIns="36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i="0" kern="1200" dirty="0">
                <a:solidFill>
                  <a:srgbClr val="115C36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1829D00-A613-216F-DE5C-ED7A4874F145}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66242" cy="0"/>
          </a:xfrm>
          <a:prstGeom prst="line">
            <a:avLst/>
          </a:prstGeom>
          <a:ln w="19050">
            <a:solidFill>
              <a:srgbClr val="198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D6B3370-2BFD-A31D-7F83-A84BF9FF648D}"/>
              </a:ext>
            </a:extLst>
          </p:cNvPr>
          <p:cNvSpPr/>
          <p:nvPr userDrawn="1"/>
        </p:nvSpPr>
        <p:spPr>
          <a:xfrm>
            <a:off x="9099612" y="6377908"/>
            <a:ext cx="2281561" cy="431897"/>
          </a:xfrm>
          <a:prstGeom prst="round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@Mandar Jog</a:t>
            </a:r>
          </a:p>
        </p:txBody>
      </p:sp>
    </p:spTree>
    <p:extLst>
      <p:ext uri="{BB962C8B-B14F-4D97-AF65-F5344CB8AC3E}">
        <p14:creationId xmlns:p14="http://schemas.microsoft.com/office/powerpoint/2010/main" val="33005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B6A584-1910-BB37-DDF0-B9CEB9CD2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89" cy="864000"/>
          </a:xfrm>
          <a:prstGeom prst="rect">
            <a:avLst/>
          </a:prstGeom>
        </p:spPr>
        <p:txBody>
          <a:bodyPr vert="horz" lIns="0" tIns="36000" rIns="0" bIns="36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i="0" kern="1200" dirty="0">
                <a:solidFill>
                  <a:srgbClr val="115C36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0236B3-7BC8-95D2-FF4A-42A2E81910F9}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66242" cy="0"/>
          </a:xfrm>
          <a:prstGeom prst="line">
            <a:avLst/>
          </a:prstGeom>
          <a:ln w="19050">
            <a:solidFill>
              <a:srgbClr val="198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2CC0CD91-ED2D-1931-5751-39ABB65BD4A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59998" y="1066892"/>
            <a:ext cx="11554298" cy="588165"/>
          </a:xfrm>
          <a:prstGeom prst="rect">
            <a:avLst/>
          </a:prstGeom>
        </p:spPr>
        <p:txBody>
          <a:bodyPr lIns="0" anchor="t"/>
          <a:lstStyle>
            <a:lvl1pPr marL="0" indent="0">
              <a:lnSpc>
                <a:spcPct val="100000"/>
              </a:lnSpc>
              <a:buFontTx/>
              <a:buNone/>
              <a:defRPr sz="2200" b="1" i="0">
                <a:solidFill>
                  <a:srgbClr val="198C53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03870CA-C680-3A79-4E94-0EFD44626E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800000"/>
            <a:ext cx="11472001" cy="4318299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180000" indent="-180000">
              <a:lnSpc>
                <a:spcPct val="100000"/>
              </a:lnSpc>
              <a:spcAft>
                <a:spcPts val="600"/>
              </a:spcAft>
              <a:buFontTx/>
              <a:buBlip>
                <a:blip r:embed="rId2"/>
              </a:buBlip>
              <a:defRPr sz="16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360000" indent="-180000">
              <a:lnSpc>
                <a:spcPct val="100000"/>
              </a:lnSpc>
              <a:spcAft>
                <a:spcPts val="600"/>
              </a:spcAft>
              <a:buFontTx/>
              <a:buBlip>
                <a:blip r:embed="rId3"/>
              </a:buBlip>
              <a:defRPr sz="16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600"/>
              </a:spcAft>
              <a:buClr>
                <a:srgbClr val="198C53"/>
              </a:buClr>
              <a:buSzPct val="120000"/>
              <a:buFont typeface="Open Sans Light" panose="020B0306030504020204" pitchFamily="34" charset="0"/>
              <a:buChar char="–"/>
              <a:defRPr sz="14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600"/>
              </a:spcAft>
              <a:buClr>
                <a:srgbClr val="198C53"/>
              </a:buClr>
              <a:buSzPct val="120000"/>
              <a:buFont typeface="Open Sans Light" panose="020B0306030504020204" pitchFamily="34" charset="0"/>
              <a:buChar char="–"/>
              <a:defRPr sz="14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600"/>
              </a:spcAft>
              <a:buClr>
                <a:srgbClr val="198C53"/>
              </a:buClr>
              <a:buSzPct val="120000"/>
              <a:buFont typeface="Open Sans Light" panose="020B0306030504020204" pitchFamily="34" charset="0"/>
              <a:buChar char="–"/>
              <a:defRPr sz="14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3E01F14-53A9-2794-CF83-89EBEEC75F45}"/>
              </a:ext>
            </a:extLst>
          </p:cNvPr>
          <p:cNvSpPr/>
          <p:nvPr userDrawn="1"/>
        </p:nvSpPr>
        <p:spPr>
          <a:xfrm>
            <a:off x="9099612" y="6393355"/>
            <a:ext cx="2281561" cy="431897"/>
          </a:xfrm>
          <a:prstGeom prst="round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@Mandar Jog</a:t>
            </a:r>
          </a:p>
        </p:txBody>
      </p:sp>
    </p:spTree>
    <p:extLst>
      <p:ext uri="{BB962C8B-B14F-4D97-AF65-F5344CB8AC3E}">
        <p14:creationId xmlns:p14="http://schemas.microsoft.com/office/powerpoint/2010/main" val="3296837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1A24F74-7042-CD00-73DF-01644ADBAC20}"/>
              </a:ext>
            </a:extLst>
          </p:cNvPr>
          <p:cNvSpPr/>
          <p:nvPr userDrawn="1"/>
        </p:nvSpPr>
        <p:spPr>
          <a:xfrm>
            <a:off x="11471982" y="6370837"/>
            <a:ext cx="360001" cy="487162"/>
          </a:xfrm>
          <a:prstGeom prst="rect">
            <a:avLst/>
          </a:prstGeom>
          <a:solidFill>
            <a:srgbClr val="198C53"/>
          </a:solidFill>
          <a:ln w="6350" cap="flat" cmpd="sng" algn="ctr">
            <a:solidFill>
              <a:srgbClr val="198C53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b="1" err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4A5381-5A5D-A6E8-8CFE-B9BA2DD16C2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456" y="6246624"/>
            <a:ext cx="2434929" cy="583059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B46C6D6A-962C-E619-4B83-4E5B7AD1399B}"/>
              </a:ext>
            </a:extLst>
          </p:cNvPr>
          <p:cNvSpPr txBox="1"/>
          <p:nvPr userDrawn="1"/>
        </p:nvSpPr>
        <p:spPr>
          <a:xfrm>
            <a:off x="11471982" y="6368093"/>
            <a:ext cx="360000" cy="360000"/>
          </a:xfrm>
          <a:prstGeom prst="roundRect">
            <a:avLst/>
          </a:prstGeom>
          <a:ln w="25400">
            <a:noFill/>
          </a:ln>
        </p:spPr>
        <p:txBody>
          <a:bodyPr vert="horz" wrap="square" lIns="0" tIns="36000" rIns="0" bIns="0" rtlCol="0" anchor="ctr" anchorCtr="0">
            <a:noAutofit/>
          </a:bodyPr>
          <a:lstStyle>
            <a:defPPr>
              <a:defRPr lang="en-US"/>
            </a:defPPr>
            <a:lvl1pPr marL="0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6589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176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9764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6353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32940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99528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6116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2704" algn="l" defTabSz="733176" rtl="0" eaLnBrk="1" latinLnBrk="0" hangingPunct="1">
              <a:defRPr sz="14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25"/>
              </a:spcBef>
            </a:pPr>
            <a:fld id="{DF7732C9-7595-6846-92DA-1858789A4426}" type="slidenum">
              <a:rPr lang="en-GB" sz="900" b="1" i="0" spc="17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ctr">
                <a:spcBef>
                  <a:spcPts val="425"/>
                </a:spcBef>
              </a:pPr>
              <a:t>‹#›</a:t>
            </a:fld>
            <a:r>
              <a:rPr lang="en-GB" sz="900" b="1" i="0" spc="17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</a:t>
            </a:r>
            <a:endParaRPr sz="900" b="1" i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A9FBF78-326F-FE8F-F077-3BD4223D191F}"/>
              </a:ext>
            </a:extLst>
          </p:cNvPr>
          <p:cNvSpPr/>
          <p:nvPr userDrawn="1"/>
        </p:nvSpPr>
        <p:spPr>
          <a:xfrm>
            <a:off x="9099612" y="6377908"/>
            <a:ext cx="2281561" cy="431897"/>
          </a:xfrm>
          <a:prstGeom prst="round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@Mandar Jog</a:t>
            </a:r>
          </a:p>
        </p:txBody>
      </p:sp>
    </p:spTree>
    <p:extLst>
      <p:ext uri="{BB962C8B-B14F-4D97-AF65-F5344CB8AC3E}">
        <p14:creationId xmlns:p14="http://schemas.microsoft.com/office/powerpoint/2010/main" val="1595523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1" r:id="rId2"/>
    <p:sldLayoutId id="2147483694" r:id="rId3"/>
    <p:sldLayoutId id="2147483697" r:id="rId4"/>
    <p:sldLayoutId id="2147483700" r:id="rId5"/>
    <p:sldLayoutId id="2147483702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8B28FC1-D7F4-98E6-4EB7-0563841924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de Optimization</a:t>
            </a:r>
          </a:p>
        </p:txBody>
      </p:sp>
      <p:pic>
        <p:nvPicPr>
          <p:cNvPr id="8" name="Picture Placeholder 14" descr="A group of people working on computers&#10;&#10;Description automatically generated with low confidence">
            <a:extLst>
              <a:ext uri="{FF2B5EF4-FFF2-40B4-BE49-F238E27FC236}">
                <a16:creationId xmlns:a16="http://schemas.microsoft.com/office/drawing/2014/main" id="{55734474-55F1-4D53-EDDF-855EDFF87C3F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" r="11"/>
          <a:stretch/>
        </p:blipFill>
        <p:spPr>
          <a:xfrm>
            <a:off x="9286875" y="1404938"/>
            <a:ext cx="2905125" cy="430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5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B76784-106D-DD28-11A7-CF4424F54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Optimization Techniqu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1BD072-C225-5D64-397B-D7C4AF3EF8A2}"/>
              </a:ext>
            </a:extLst>
          </p:cNvPr>
          <p:cNvSpPr txBox="1"/>
          <p:nvPr/>
        </p:nvSpPr>
        <p:spPr>
          <a:xfrm>
            <a:off x="360000" y="1238992"/>
            <a:ext cx="1018749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Arimo"/>
              </a:rPr>
              <a:t> if optimization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Arimo"/>
              </a:rPr>
              <a:t> Forward store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Arimo"/>
              </a:rPr>
              <a:t> Function </a:t>
            </a:r>
            <a:r>
              <a:rPr lang="en-US" dirty="0" err="1">
                <a:solidFill>
                  <a:srgbClr val="303030"/>
                </a:solidFill>
                <a:latin typeface="Arimo"/>
              </a:rPr>
              <a:t>Inlining</a:t>
            </a:r>
            <a:endParaRPr lang="en-US" dirty="0">
              <a:solidFill>
                <a:srgbClr val="303030"/>
              </a:solidFill>
              <a:latin typeface="Arimo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Arimo"/>
              </a:rPr>
              <a:t> Induction Variable Elimination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03030"/>
                </a:solidFill>
                <a:latin typeface="Arimo"/>
              </a:rPr>
              <a:t> Loop Fusion</a:t>
            </a:r>
          </a:p>
          <a:p>
            <a:pPr algn="l" fontAlgn="base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303030"/>
              </a:solidFill>
              <a:effectLst/>
              <a:latin typeface="Arimo"/>
            </a:endParaRP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8620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0EFDC-544C-ABD1-45F5-44D3F4BDE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FA46B3-B55A-2104-D4DE-8BD4C45B6F2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9D6A7B-E473-475A-16F6-77550689AB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88515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>
            <a:extLst>
              <a:ext uri="{FF2B5EF4-FFF2-40B4-BE49-F238E27FC236}">
                <a16:creationId xmlns:a16="http://schemas.microsoft.com/office/drawing/2014/main" id="{12FDD6F6-E11F-47F7-62EA-DCFFCF13B4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9433" y="1466849"/>
            <a:ext cx="8825023" cy="420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642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2224C-78B8-5786-324C-579814990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pile Time Evalu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B2B190-1DD7-BD09-28D1-3E413CEA85DD}"/>
              </a:ext>
            </a:extLst>
          </p:cNvPr>
          <p:cNvSpPr txBox="1"/>
          <p:nvPr/>
        </p:nvSpPr>
        <p:spPr>
          <a:xfrm>
            <a:off x="1411472" y="1824887"/>
            <a:ext cx="60977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IN" b="1" i="0" dirty="0">
                <a:solidFill>
                  <a:srgbClr val="303030"/>
                </a:solidFill>
                <a:effectLst/>
                <a:latin typeface="roboto condensed" panose="020B0604020202020204" pitchFamily="2" charset="0"/>
              </a:rPr>
              <a:t>A) Constant Fold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43761C-894C-DF30-C349-F059AD3961CC}"/>
              </a:ext>
            </a:extLst>
          </p:cNvPr>
          <p:cNvSpPr txBox="1"/>
          <p:nvPr/>
        </p:nvSpPr>
        <p:spPr>
          <a:xfrm>
            <a:off x="1411472" y="2494739"/>
            <a:ext cx="60977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IN" b="1" i="0" dirty="0">
                <a:solidFill>
                  <a:srgbClr val="303030"/>
                </a:solidFill>
                <a:effectLst/>
                <a:latin typeface="roboto condensed" panose="02000000000000000000" pitchFamily="2" charset="0"/>
              </a:rPr>
              <a:t>B) Constant Propagation</a:t>
            </a:r>
          </a:p>
        </p:txBody>
      </p:sp>
    </p:spTree>
    <p:extLst>
      <p:ext uri="{BB962C8B-B14F-4D97-AF65-F5344CB8AC3E}">
        <p14:creationId xmlns:p14="http://schemas.microsoft.com/office/powerpoint/2010/main" val="857035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32D2C-0B00-F621-7B66-636CE00D1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stant Fold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E72B40-8C3A-6FBE-93F8-71D1EA360656}"/>
              </a:ext>
            </a:extLst>
          </p:cNvPr>
          <p:cNvSpPr txBox="1"/>
          <p:nvPr/>
        </p:nvSpPr>
        <p:spPr>
          <a:xfrm>
            <a:off x="1010093" y="1310658"/>
            <a:ext cx="10821896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n this techniqu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As the name suggests, it involves folding the constants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expressions that contain the operands having constant values at compile time are evaluated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ose expressions are then replaced with their respective results.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  <a:p>
            <a:pPr algn="l" fontAlgn="base"/>
            <a:r>
              <a:rPr lang="en-US" b="1" i="0" u="sng" dirty="0">
                <a:solidFill>
                  <a:srgbClr val="303030"/>
                </a:solidFill>
                <a:effectLst/>
                <a:latin typeface="roboto condensed" panose="02000000000000000000" pitchFamily="2" charset="0"/>
              </a:rPr>
              <a:t>Example-</a:t>
            </a:r>
            <a:endParaRPr lang="en-US" b="1" i="0" dirty="0">
              <a:solidFill>
                <a:srgbClr val="303030"/>
              </a:solidFill>
              <a:effectLst/>
              <a:latin typeface="roboto condensed" panose="02000000000000000000" pitchFamily="2" charset="0"/>
            </a:endParaRP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  <a:p>
            <a:pPr algn="ctr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Circumference of Circle = (22/7) x Diameter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Her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is technique evaluates the expression 22/7 at compile time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expression is then replaced with its result 3.14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is saves the time at run time.</a:t>
            </a:r>
          </a:p>
        </p:txBody>
      </p:sp>
    </p:spTree>
    <p:extLst>
      <p:ext uri="{BB962C8B-B14F-4D97-AF65-F5344CB8AC3E}">
        <p14:creationId xmlns:p14="http://schemas.microsoft.com/office/powerpoint/2010/main" val="4058787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66087C7E-E639-505D-E3D7-F7B619AF5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stant Propagation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C2D4FE-5CAF-57A2-E62A-B0279276F996}"/>
              </a:ext>
            </a:extLst>
          </p:cNvPr>
          <p:cNvSpPr txBox="1"/>
          <p:nvPr/>
        </p:nvSpPr>
        <p:spPr>
          <a:xfrm>
            <a:off x="879843" y="1141918"/>
            <a:ext cx="10805337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n this techniqu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f some variable has been assigned some constant value, then it replaces that variable with its constant value in the further program during compilation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condition is that the value of variable must not get alter in between.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  <a:p>
            <a:pPr algn="l" fontAlgn="base"/>
            <a:r>
              <a:rPr lang="en-US" b="1" i="0" u="sng" dirty="0">
                <a:solidFill>
                  <a:srgbClr val="303030"/>
                </a:solidFill>
                <a:effectLst/>
                <a:latin typeface="roboto condensed" panose="02000000000000000000" pitchFamily="2" charset="0"/>
              </a:rPr>
              <a:t>Example-</a:t>
            </a:r>
            <a:endParaRPr lang="en-US" b="1" i="0" dirty="0">
              <a:solidFill>
                <a:srgbClr val="303030"/>
              </a:solidFill>
              <a:effectLst/>
              <a:latin typeface="roboto condensed" panose="02000000000000000000" pitchFamily="2" charset="0"/>
            </a:endParaRP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pi = 3.14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radius = 10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Area of circle = pi x radius x radius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Her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is technique substitutes the value of variables ‘pi’ and ‘radius’ at compile time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t then evaluates the expression 3.14 x 10 x 10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expression is then replaced with its result 314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is saves the time at run time.</a:t>
            </a:r>
          </a:p>
          <a:p>
            <a:pPr algn="l" fontAlgn="base"/>
            <a:endParaRPr lang="en-US" b="0" i="0" dirty="0">
              <a:solidFill>
                <a:srgbClr val="303030"/>
              </a:solidFill>
              <a:effectLst/>
              <a:latin typeface="Arimo"/>
            </a:endParaRPr>
          </a:p>
        </p:txBody>
      </p:sp>
    </p:spTree>
    <p:extLst>
      <p:ext uri="{BB962C8B-B14F-4D97-AF65-F5344CB8AC3E}">
        <p14:creationId xmlns:p14="http://schemas.microsoft.com/office/powerpoint/2010/main" val="313127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DB20F63-0B6A-31FC-DAC4-9A4CB4B8D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Sub Expression Evalu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C501F1-5D25-50E9-0A01-0A08C3381D68}"/>
              </a:ext>
            </a:extLst>
          </p:cNvPr>
          <p:cNvSpPr txBox="1"/>
          <p:nvPr/>
        </p:nvSpPr>
        <p:spPr>
          <a:xfrm>
            <a:off x="359999" y="1120929"/>
            <a:ext cx="1020876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n this techniqu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As the name suggests, it involves eliminating the common sub expressions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redundant expressions are eliminated to avoid their re-computation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already computed result is used in the further program when required.</a:t>
            </a: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  <a:p>
            <a:pPr algn="l" fontAlgn="base"/>
            <a:r>
              <a:rPr lang="en-US" b="1" i="0" u="sng" dirty="0">
                <a:solidFill>
                  <a:srgbClr val="303030"/>
                </a:solidFill>
                <a:effectLst/>
                <a:latin typeface="roboto condensed" panose="02000000000000000000" pitchFamily="2" charset="0"/>
              </a:rPr>
              <a:t>Example-</a:t>
            </a:r>
          </a:p>
          <a:p>
            <a:pPr algn="l" fontAlgn="base"/>
            <a:endParaRPr lang="en-US" b="1" i="0" dirty="0">
              <a:solidFill>
                <a:srgbClr val="303030"/>
              </a:solidFill>
              <a:effectLst/>
              <a:latin typeface="roboto condensed" panose="02000000000000000000" pitchFamily="2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B36A0CD-CD3A-CB5B-819A-75CE8A462E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7696017"/>
              </p:ext>
            </p:extLst>
          </p:nvPr>
        </p:nvGraphicFramePr>
        <p:xfrm>
          <a:off x="2191391" y="2870344"/>
          <a:ext cx="5023485" cy="2346960"/>
        </p:xfrm>
        <a:graphic>
          <a:graphicData uri="http://schemas.openxmlformats.org/drawingml/2006/table">
            <a:tbl>
              <a:tblPr/>
              <a:tblGrid>
                <a:gridCol w="2774334">
                  <a:extLst>
                    <a:ext uri="{9D8B030D-6E8A-4147-A177-3AD203B41FA5}">
                      <a16:colId xmlns:a16="http://schemas.microsoft.com/office/drawing/2014/main" val="1840536097"/>
                    </a:ext>
                  </a:extLst>
                </a:gridCol>
                <a:gridCol w="2249151">
                  <a:extLst>
                    <a:ext uri="{9D8B030D-6E8A-4147-A177-3AD203B41FA5}">
                      <a16:colId xmlns:a16="http://schemas.microsoft.com/office/drawing/2014/main" val="20688755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Before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After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4105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S1 = 4 x i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S2 = a[S1]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S3 = 4 x j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S4 = 4 x i </a:t>
                      </a:r>
                      <a:r>
                        <a:rPr lang="en-IN" b="1">
                          <a:effectLst/>
                        </a:rPr>
                        <a:t>// Redundant Expression</a:t>
                      </a:r>
                      <a:endParaRPr lang="en-IN">
                        <a:effectLst/>
                      </a:endParaRPr>
                    </a:p>
                    <a:p>
                      <a:pPr fontAlgn="base"/>
                      <a:r>
                        <a:rPr lang="en-IN">
                          <a:effectLst/>
                        </a:rPr>
                        <a:t>S5 = n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S6 = b[S4] + S5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pt-BR" dirty="0">
                          <a:effectLst/>
                        </a:rPr>
                        <a:t>S1 = 4 x i</a:t>
                      </a:r>
                    </a:p>
                    <a:p>
                      <a:pPr fontAlgn="base"/>
                      <a:r>
                        <a:rPr lang="pt-BR" dirty="0">
                          <a:effectLst/>
                        </a:rPr>
                        <a:t>S2 = a[S1]</a:t>
                      </a:r>
                    </a:p>
                    <a:p>
                      <a:pPr fontAlgn="base"/>
                      <a:r>
                        <a:rPr lang="pt-BR" dirty="0">
                          <a:effectLst/>
                        </a:rPr>
                        <a:t>S3 = 4 x j</a:t>
                      </a:r>
                    </a:p>
                    <a:p>
                      <a:pPr fontAlgn="base"/>
                      <a:r>
                        <a:rPr lang="pt-BR" dirty="0">
                          <a:effectLst/>
                        </a:rPr>
                        <a:t>S5 = n</a:t>
                      </a:r>
                    </a:p>
                    <a:p>
                      <a:pPr fontAlgn="base"/>
                      <a:r>
                        <a:rPr lang="pt-BR" dirty="0">
                          <a:effectLst/>
                        </a:rPr>
                        <a:t>S6 = b[S1] + S5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036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61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B76784-106D-DD28-11A7-CF4424F54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89" cy="864000"/>
          </a:xfrm>
        </p:spPr>
        <p:txBody>
          <a:bodyPr/>
          <a:lstStyle/>
          <a:p>
            <a:r>
              <a:rPr lang="en-US" dirty="0"/>
              <a:t>Code Movement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919D75-A3FA-1B02-C7F6-D3A372E9FE78}"/>
              </a:ext>
            </a:extLst>
          </p:cNvPr>
          <p:cNvSpPr txBox="1"/>
          <p:nvPr/>
        </p:nvSpPr>
        <p:spPr>
          <a:xfrm>
            <a:off x="360000" y="1068319"/>
            <a:ext cx="1076165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n this techniqu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As the name suggests, it involves movement of the code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code present inside the loop is moved out if it does not matter whether it is present inside or outside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Such a code unnecessarily gets execute again and again with each iteration of the loop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is leads to the wastage of time at run time.</a:t>
            </a:r>
          </a:p>
          <a:p>
            <a:pPr algn="l" fontAlgn="base"/>
            <a:endParaRPr lang="en-US" b="0" i="0" dirty="0">
              <a:solidFill>
                <a:srgbClr val="303030"/>
              </a:solidFill>
              <a:effectLst/>
              <a:latin typeface="Arimo"/>
            </a:endParaRPr>
          </a:p>
          <a:p>
            <a:pPr algn="l" fontAlgn="base"/>
            <a:r>
              <a:rPr lang="en-US" dirty="0">
                <a:solidFill>
                  <a:srgbClr val="303030"/>
                </a:solidFill>
                <a:latin typeface="Arimo"/>
              </a:rPr>
              <a:t>Example</a:t>
            </a:r>
          </a:p>
          <a:p>
            <a:pPr algn="l" fontAlgn="base"/>
            <a:endParaRPr lang="en-US" dirty="0">
              <a:solidFill>
                <a:srgbClr val="303030"/>
              </a:solidFill>
              <a:latin typeface="Arimo"/>
            </a:endParaRPr>
          </a:p>
          <a:p>
            <a:pPr algn="l" fontAlgn="base"/>
            <a:endParaRPr lang="en-US" dirty="0">
              <a:solidFill>
                <a:srgbClr val="303030"/>
              </a:solidFill>
              <a:latin typeface="Arimo"/>
            </a:endParaRPr>
          </a:p>
          <a:p>
            <a:pPr algn="l" fontAlgn="base"/>
            <a:endParaRPr lang="en-US" b="0" i="0" dirty="0">
              <a:solidFill>
                <a:srgbClr val="303030"/>
              </a:solidFill>
              <a:effectLst/>
              <a:latin typeface="Arimo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7D19545-D55A-DD8D-44FE-C548814034CE}"/>
              </a:ext>
            </a:extLst>
          </p:cNvPr>
          <p:cNvGraphicFramePr>
            <a:graphicFrameLocks noGrp="1"/>
          </p:cNvGraphicFramePr>
          <p:nvPr/>
        </p:nvGraphicFramePr>
        <p:xfrm>
          <a:off x="3584257" y="3102134"/>
          <a:ext cx="5023485" cy="1798320"/>
        </p:xfrm>
        <a:graphic>
          <a:graphicData uri="http://schemas.openxmlformats.org/drawingml/2006/table">
            <a:tbl>
              <a:tblPr/>
              <a:tblGrid>
                <a:gridCol w="2473463">
                  <a:extLst>
                    <a:ext uri="{9D8B030D-6E8A-4147-A177-3AD203B41FA5}">
                      <a16:colId xmlns:a16="http://schemas.microsoft.com/office/drawing/2014/main" val="920846084"/>
                    </a:ext>
                  </a:extLst>
                </a:gridCol>
                <a:gridCol w="2550022">
                  <a:extLst>
                    <a:ext uri="{9D8B030D-6E8A-4147-A177-3AD203B41FA5}">
                      <a16:colId xmlns:a16="http://schemas.microsoft.com/office/drawing/2014/main" val="8029014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Before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After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54562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IN">
                          <a:effectLst/>
                        </a:rPr>
                        <a:t>for ( int j = 0 ; j &lt; n ; j ++)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{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x = y + z ;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a[j] = 6 x j;</a:t>
                      </a:r>
                    </a:p>
                    <a:p>
                      <a:pPr fontAlgn="base"/>
                      <a:r>
                        <a:rPr lang="en-IN">
                          <a:effectLst/>
                        </a:rPr>
                        <a:t>}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IN" dirty="0">
                          <a:effectLst/>
                        </a:rPr>
                        <a:t>x = y + z ;</a:t>
                      </a:r>
                    </a:p>
                    <a:p>
                      <a:pPr fontAlgn="base"/>
                      <a:r>
                        <a:rPr lang="en-IN" dirty="0">
                          <a:effectLst/>
                        </a:rPr>
                        <a:t>for ( int j = 0 ; j &lt; n ; j ++)</a:t>
                      </a:r>
                    </a:p>
                    <a:p>
                      <a:pPr fontAlgn="base"/>
                      <a:r>
                        <a:rPr lang="en-IN" dirty="0">
                          <a:effectLst/>
                        </a:rPr>
                        <a:t>{</a:t>
                      </a:r>
                    </a:p>
                    <a:p>
                      <a:pPr fontAlgn="base"/>
                      <a:r>
                        <a:rPr lang="en-IN" dirty="0">
                          <a:effectLst/>
                        </a:rPr>
                        <a:t>a[j] = 6 x j;</a:t>
                      </a:r>
                    </a:p>
                    <a:p>
                      <a:pPr fontAlgn="base"/>
                      <a:r>
                        <a:rPr lang="en-IN" dirty="0">
                          <a:effectLst/>
                        </a:rPr>
                        <a:t>}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6173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467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8FCEA50-B329-EE9F-3FDC-07FD50B71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ad Code Elimin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A7631B-8582-88F9-E3EA-53511E453CF7}"/>
              </a:ext>
            </a:extLst>
          </p:cNvPr>
          <p:cNvSpPr txBox="1"/>
          <p:nvPr/>
        </p:nvSpPr>
        <p:spPr>
          <a:xfrm>
            <a:off x="360000" y="1238992"/>
            <a:ext cx="1018749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n this techniqu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As the name suggests, it involves eliminating the dead code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statements of the code which either never executes or are unreachable or their output is never used are eliminated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endParaRPr lang="en-US" dirty="0">
              <a:solidFill>
                <a:srgbClr val="303030"/>
              </a:solidFill>
              <a:latin typeface="Arimo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303030"/>
              </a:solidFill>
              <a:effectLst/>
              <a:latin typeface="Arimo"/>
            </a:endParaRPr>
          </a:p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 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7B4F33D9-4108-7BFE-F019-6F0C6FE2C6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501114"/>
              </p:ext>
            </p:extLst>
          </p:nvPr>
        </p:nvGraphicFramePr>
        <p:xfrm>
          <a:off x="3127051" y="3270317"/>
          <a:ext cx="5023485" cy="1798320"/>
        </p:xfrm>
        <a:graphic>
          <a:graphicData uri="http://schemas.openxmlformats.org/drawingml/2006/table">
            <a:tbl>
              <a:tblPr/>
              <a:tblGrid>
                <a:gridCol w="2611954">
                  <a:extLst>
                    <a:ext uri="{9D8B030D-6E8A-4147-A177-3AD203B41FA5}">
                      <a16:colId xmlns:a16="http://schemas.microsoft.com/office/drawing/2014/main" val="1748728414"/>
                    </a:ext>
                  </a:extLst>
                </a:gridCol>
                <a:gridCol w="2411531">
                  <a:extLst>
                    <a:ext uri="{9D8B030D-6E8A-4147-A177-3AD203B41FA5}">
                      <a16:colId xmlns:a16="http://schemas.microsoft.com/office/drawing/2014/main" val="177724421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Before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After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984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base"/>
                      <a:r>
                        <a:rPr lang="en-US">
                          <a:effectLst/>
                        </a:rPr>
                        <a:t>i = 0 ;</a:t>
                      </a:r>
                    </a:p>
                    <a:p>
                      <a:pPr fontAlgn="base"/>
                      <a:r>
                        <a:rPr lang="en-US">
                          <a:effectLst/>
                        </a:rPr>
                        <a:t>if (i == 1)</a:t>
                      </a:r>
                    </a:p>
                    <a:p>
                      <a:pPr fontAlgn="base"/>
                      <a:r>
                        <a:rPr lang="en-US">
                          <a:effectLst/>
                        </a:rPr>
                        <a:t>{</a:t>
                      </a:r>
                    </a:p>
                    <a:p>
                      <a:pPr fontAlgn="base"/>
                      <a:r>
                        <a:rPr lang="en-US">
                          <a:effectLst/>
                        </a:rPr>
                        <a:t>a = x + 5 ;</a:t>
                      </a:r>
                    </a:p>
                    <a:p>
                      <a:pPr fontAlgn="base"/>
                      <a:r>
                        <a:rPr lang="en-US">
                          <a:effectLst/>
                        </a:rPr>
                        <a:t>}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 err="1">
                          <a:effectLst/>
                        </a:rPr>
                        <a:t>i</a:t>
                      </a:r>
                      <a:r>
                        <a:rPr lang="en-IN" dirty="0">
                          <a:effectLst/>
                        </a:rPr>
                        <a:t> = 0 ;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7752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914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AE94C-568B-2AC8-8E95-718D382FB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trength Redu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1D6B52-DF70-16AC-7CBF-67FDAC917FDD}"/>
              </a:ext>
            </a:extLst>
          </p:cNvPr>
          <p:cNvSpPr txBox="1"/>
          <p:nvPr/>
        </p:nvSpPr>
        <p:spPr>
          <a:xfrm>
            <a:off x="359999" y="1111400"/>
            <a:ext cx="1051710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In this techniqu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As the name suggests, it involves reducing the strength of expressions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is technique replaces the expensive and costly operators with the simple and cheaper ones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B089F35-8AAF-1401-C541-AB59F161F7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320001"/>
              </p:ext>
            </p:extLst>
          </p:nvPr>
        </p:nvGraphicFramePr>
        <p:xfrm>
          <a:off x="2180759" y="2727960"/>
          <a:ext cx="5023485" cy="701040"/>
        </p:xfrm>
        <a:graphic>
          <a:graphicData uri="http://schemas.openxmlformats.org/drawingml/2006/table">
            <a:tbl>
              <a:tblPr/>
              <a:tblGrid>
                <a:gridCol w="2605698">
                  <a:extLst>
                    <a:ext uri="{9D8B030D-6E8A-4147-A177-3AD203B41FA5}">
                      <a16:colId xmlns:a16="http://schemas.microsoft.com/office/drawing/2014/main" val="2248941479"/>
                    </a:ext>
                  </a:extLst>
                </a:gridCol>
                <a:gridCol w="2417787">
                  <a:extLst>
                    <a:ext uri="{9D8B030D-6E8A-4147-A177-3AD203B41FA5}">
                      <a16:colId xmlns:a16="http://schemas.microsoft.com/office/drawing/2014/main" val="9784564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Before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b="1">
                          <a:effectLst/>
                        </a:rPr>
                        <a:t>Code After Optimization</a:t>
                      </a:r>
                      <a:endParaRPr lang="en-IN">
                        <a:effectLst/>
                      </a:endParaRP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2355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IN">
                          <a:effectLst/>
                        </a:rPr>
                        <a:t>B = A x 2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>
                          <a:effectLst/>
                        </a:rPr>
                        <a:t>B = A + A</a:t>
                      </a:r>
                    </a:p>
                  </a:txBody>
                  <a:tcPr marL="76200" marR="76200" marT="60960" marB="60960"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42655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1F7ED40-5B1D-0432-963B-EC7013562DAE}"/>
              </a:ext>
            </a:extLst>
          </p:cNvPr>
          <p:cNvSpPr txBox="1"/>
          <p:nvPr/>
        </p:nvSpPr>
        <p:spPr>
          <a:xfrm>
            <a:off x="359999" y="3812347"/>
            <a:ext cx="1060216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Here,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e expression “A x 2” is replaced with the expression “A + A”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03030"/>
                </a:solidFill>
                <a:effectLst/>
                <a:latin typeface="Arimo"/>
              </a:rPr>
              <a:t>This is because the cost of multiplication operator is higher than that of addition operator.</a:t>
            </a:r>
          </a:p>
        </p:txBody>
      </p:sp>
    </p:spTree>
    <p:extLst>
      <p:ext uri="{BB962C8B-B14F-4D97-AF65-F5344CB8AC3E}">
        <p14:creationId xmlns:p14="http://schemas.microsoft.com/office/powerpoint/2010/main" val="2466290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6D173B59440741A6006D7EAEC00BED" ma:contentTypeVersion="10" ma:contentTypeDescription="Create a new document." ma:contentTypeScope="" ma:versionID="729c344e277c943deeca996f8661a659">
  <xsd:schema xmlns:xsd="http://www.w3.org/2001/XMLSchema" xmlns:xs="http://www.w3.org/2001/XMLSchema" xmlns:p="http://schemas.microsoft.com/office/2006/metadata/properties" xmlns:ns3="ae0f09f5-209b-4b12-8747-5e18591001b2" xmlns:ns4="dc1fe808-0703-4c64-800f-1d51da88d795" targetNamespace="http://schemas.microsoft.com/office/2006/metadata/properties" ma:root="true" ma:fieldsID="76d7725658f2239ef55bcfb4bc46bb2c" ns3:_="" ns4:_="">
    <xsd:import namespace="ae0f09f5-209b-4b12-8747-5e18591001b2"/>
    <xsd:import namespace="dc1fe808-0703-4c64-800f-1d51da88d79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LengthInSeconds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0f09f5-209b-4b12-8747-5e18591001b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fe808-0703-4c64-800f-1d51da88d7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D3DEBC-BD80-4394-8466-2E7DB142013F}">
  <ds:schemaRefs>
    <ds:schemaRef ds:uri="http://purl.org/dc/elements/1.1/"/>
    <ds:schemaRef ds:uri="dc1fe808-0703-4c64-800f-1d51da88d795"/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ae0f09f5-209b-4b12-8747-5e18591001b2"/>
    <ds:schemaRef ds:uri="http://purl.org/dc/terms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6B5905C5-B369-4BEA-97AB-B9C9F25B78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EDC8F9-8FC7-4FA5-928F-6C021E95B8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0f09f5-209b-4b12-8747-5e18591001b2"/>
    <ds:schemaRef ds:uri="dc1fe808-0703-4c64-800f-1d51da88d7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9</TotalTime>
  <Words>642</Words>
  <Application>Microsoft Office PowerPoint</Application>
  <PresentationFormat>Widescreen</PresentationFormat>
  <Paragraphs>116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Arimo</vt:lpstr>
      <vt:lpstr>Calibri</vt:lpstr>
      <vt:lpstr>Open Sans</vt:lpstr>
      <vt:lpstr>Open Sans ExtraBold</vt:lpstr>
      <vt:lpstr>Open Sans ExtraBold</vt:lpstr>
      <vt:lpstr>Open Sans Light</vt:lpstr>
      <vt:lpstr>Open Sans SemiBold</vt:lpstr>
      <vt:lpstr>roboto condensed</vt:lpstr>
      <vt:lpstr>Office Theme</vt:lpstr>
      <vt:lpstr>think-cell Slide</vt:lpstr>
      <vt:lpstr>Code Optimization</vt:lpstr>
      <vt:lpstr>PowerPoint Presentation</vt:lpstr>
      <vt:lpstr>Compile Time Evaluation</vt:lpstr>
      <vt:lpstr>Constant Folding</vt:lpstr>
      <vt:lpstr>Constant Propagation</vt:lpstr>
      <vt:lpstr>Common Sub Expression Evaluation</vt:lpstr>
      <vt:lpstr>Code Movement </vt:lpstr>
      <vt:lpstr>Dead Code Elimination</vt:lpstr>
      <vt:lpstr>Strength Reduction</vt:lpstr>
      <vt:lpstr>Other Optimization Techniqu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ology offerings</dc:title>
  <dc:creator>Bresnahan, Rachelle</dc:creator>
  <cp:lastModifiedBy>Mandar Jog</cp:lastModifiedBy>
  <cp:revision>34</cp:revision>
  <cp:lastPrinted>2022-09-25T16:51:01Z</cp:lastPrinted>
  <dcterms:created xsi:type="dcterms:W3CDTF">2022-06-07T21:56:09Z</dcterms:created>
  <dcterms:modified xsi:type="dcterms:W3CDTF">2022-09-25T17:0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6D173B59440741A6006D7EAEC00BED</vt:lpwstr>
  </property>
</Properties>
</file>